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44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9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7449" y="661139"/>
            <a:ext cx="9423559" cy="639793"/>
          </a:xfrm>
        </p:spPr>
        <p:txBody>
          <a:bodyPr/>
          <a:lstStyle>
            <a:lvl1pPr>
              <a:defRPr sz="4158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57451" y="2377204"/>
            <a:ext cx="7494662" cy="15991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78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768590" y="7231845"/>
            <a:ext cx="557845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35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3173895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4546552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5560198" y="1641777"/>
            <a:ext cx="4544695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60198" y="4239208"/>
            <a:ext cx="4544695" cy="235939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8102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4546552" cy="2359393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9306" y="4239210"/>
            <a:ext cx="4544695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556486" y="1641774"/>
            <a:ext cx="4548408" cy="235939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556486" y="4239210"/>
            <a:ext cx="4548408" cy="2359393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7063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7162350" y="4239208"/>
            <a:ext cx="2942542" cy="1988332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5359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4546552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5556486" y="1641777"/>
            <a:ext cx="4548408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56486" y="3630106"/>
            <a:ext cx="4548408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6" y="4239208"/>
            <a:ext cx="4548408" cy="1988332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556486" y="6227540"/>
            <a:ext cx="4548408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89901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7449" y="4239208"/>
            <a:ext cx="2942542" cy="1988332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958045" y="1641774"/>
            <a:ext cx="2946255" cy="495682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7156781" y="1641776"/>
            <a:ext cx="2948111" cy="1988331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7157401" y="3630105"/>
            <a:ext cx="294749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7162350" y="4239208"/>
            <a:ext cx="2942542" cy="1988332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4958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80"/>
            <a:ext cx="9347444" cy="373271"/>
          </a:xfrm>
        </p:spPr>
        <p:txBody>
          <a:bodyPr>
            <a:noAutofit/>
          </a:bodyPr>
          <a:lstStyle>
            <a:lvl1pPr>
              <a:defRPr sz="2391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361459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4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361459" y="4239211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5556484" y="4239211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0899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80"/>
            <a:ext cx="9347444" cy="373271"/>
          </a:xfrm>
        </p:spPr>
        <p:txBody>
          <a:bodyPr>
            <a:noAutofit/>
          </a:bodyPr>
          <a:lstStyle>
            <a:lvl1pPr>
              <a:defRPr sz="2391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361459" y="1641777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556484" y="1641777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361459" y="4239211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5556484" y="4239211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365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80"/>
            <a:ext cx="9347444" cy="373271"/>
          </a:xfrm>
        </p:spPr>
        <p:txBody>
          <a:bodyPr>
            <a:noAutofit/>
          </a:bodyPr>
          <a:lstStyle>
            <a:lvl1pPr>
              <a:defRPr sz="2391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50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757450" y="4239211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959900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959900" y="4239211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7162350" y="1641777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7162350" y="4239211"/>
            <a:ext cx="2942542" cy="1988331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455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11457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80"/>
            <a:ext cx="9347444" cy="373271"/>
          </a:xfrm>
        </p:spPr>
        <p:txBody>
          <a:bodyPr>
            <a:noAutofit/>
          </a:bodyPr>
          <a:lstStyle>
            <a:lvl1pPr>
              <a:defRPr sz="2391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757448" y="1636524"/>
            <a:ext cx="2947414" cy="2364644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957464" y="1636524"/>
            <a:ext cx="2947414" cy="2364644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7157479" y="1636524"/>
            <a:ext cx="2947414" cy="236464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757449" y="4239208"/>
            <a:ext cx="2948111" cy="235939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958045" y="4239208"/>
            <a:ext cx="2946255" cy="235939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7156781" y="4239208"/>
            <a:ext cx="2948111" cy="235939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135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860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60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57450" y="2764944"/>
            <a:ext cx="9347443" cy="12795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158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757450" y="4251715"/>
            <a:ext cx="9347443" cy="31982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78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7267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9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87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693400" cy="7561263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9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4232806" y="2322640"/>
            <a:ext cx="6065166" cy="2219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31"/>
              </a:spcBef>
              <a:spcAft>
                <a:spcPts val="0"/>
              </a:spcAft>
            </a:pPr>
            <a:r>
              <a:rPr lang="en-GB" sz="935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35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35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35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35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31"/>
              </a:spcBef>
              <a:spcAft>
                <a:spcPts val="0"/>
              </a:spcAft>
            </a:pPr>
            <a:r>
              <a:rPr lang="en-GB" sz="935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35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31"/>
              </a:spcBef>
              <a:spcAft>
                <a:spcPts val="0"/>
              </a:spcAft>
            </a:pPr>
            <a:r>
              <a:rPr lang="en-GB" sz="935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35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35" dirty="0">
                <a:solidFill>
                  <a:srgbClr val="FFFFFF"/>
                </a:solidFill>
                <a:latin typeface="Arial"/>
              </a:rPr>
            </a:br>
            <a:r>
              <a:rPr lang="en-GB" sz="935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35" dirty="0">
                <a:solidFill>
                  <a:srgbClr val="FFFFFF"/>
                </a:solidFill>
                <a:latin typeface="Arial"/>
              </a:rPr>
            </a:br>
            <a:r>
              <a:rPr lang="en-GB" sz="935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4232806" y="5013784"/>
            <a:ext cx="6065166" cy="160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31"/>
              </a:spcBef>
              <a:spcAft>
                <a:spcPts val="0"/>
              </a:spcAft>
            </a:pPr>
            <a:r>
              <a:rPr lang="en-GB" sz="104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35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4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768590" y="7231845"/>
            <a:ext cx="557845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35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05603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34513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757451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6930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7450" y="952780"/>
            <a:ext cx="9347444" cy="373271"/>
          </a:xfrm>
        </p:spPr>
        <p:txBody>
          <a:bodyPr>
            <a:noAutofit/>
          </a:bodyPr>
          <a:lstStyle>
            <a:lvl1pPr>
              <a:defRPr sz="2391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6186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7"/>
            <a:ext cx="2942542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4803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49" y="1641777"/>
            <a:ext cx="2942542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952476" y="1641774"/>
            <a:ext cx="6152418" cy="4956828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5802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50" y="1641777"/>
            <a:ext cx="9347443" cy="4956827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4117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57450" y="369134"/>
            <a:ext cx="9347443" cy="6229470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2728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7451" y="369134"/>
            <a:ext cx="9347443" cy="480022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7449" y="1641777"/>
            <a:ext cx="6148705" cy="4956827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162350" y="1641777"/>
            <a:ext cx="2942542" cy="2359393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62350" y="4239208"/>
            <a:ext cx="2942542" cy="2359394"/>
          </a:xfrm>
        </p:spPr>
        <p:txBody>
          <a:bodyPr/>
          <a:lstStyle>
            <a:lvl1pPr marL="0" marR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416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4383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859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859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4"/>
            <a:ext cx="9349299" cy="4800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1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2016" y="7144170"/>
            <a:ext cx="1141338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35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35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ly 2020</a:t>
            </a:fld>
            <a:endParaRPr lang="en-GB" sz="935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44170"/>
            <a:ext cx="537006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35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35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935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9030912" y="7165052"/>
            <a:ext cx="1077695" cy="278292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1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F65CBF8-3A4B-4676-85F9-75914F2A47A7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443989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</p:sldLayoutIdLst>
  <p:hf sldNum="0" hdr="0" dt="0"/>
  <p:txStyles>
    <p:titleStyle>
      <a:lvl1pPr algn="l" defTabSz="950409" rtl="0" eaLnBrk="1" latinLnBrk="0" hangingPunct="1">
        <a:spcBef>
          <a:spcPct val="0"/>
        </a:spcBef>
        <a:buNone/>
        <a:defRPr sz="311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None/>
        <a:defRPr sz="1871" kern="1200">
          <a:solidFill>
            <a:schemeClr val="tx1"/>
          </a:solidFill>
          <a:latin typeface="+mn-lt"/>
          <a:ea typeface="+mn-ea"/>
          <a:cs typeface="+mn-cs"/>
        </a:defRPr>
      </a:lvl1pPr>
      <a:lvl2pPr marL="184802" indent="-184802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663" kern="1200">
          <a:solidFill>
            <a:schemeClr val="tx1"/>
          </a:solidFill>
          <a:latin typeface="+mn-lt"/>
          <a:ea typeface="+mn-ea"/>
          <a:cs typeface="+mn-cs"/>
        </a:defRPr>
      </a:lvl2pPr>
      <a:lvl3pPr marL="371254" indent="-186451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3pPr>
      <a:lvl4pPr marL="556056" indent="-184802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4pPr>
      <a:lvl5pPr marL="742506" indent="-186451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5pPr>
      <a:lvl6pPr marL="2613624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6pPr>
      <a:lvl7pPr marL="3088828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7pPr>
      <a:lvl8pPr marL="3564032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8pPr>
      <a:lvl9pPr marL="4039237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1pPr>
      <a:lvl2pPr marL="475204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2pPr>
      <a:lvl3pPr marL="950409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3pPr>
      <a:lvl4pPr marL="1425613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4pPr>
      <a:lvl5pPr marL="1900817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21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6pPr>
      <a:lvl7pPr marL="2851226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7pPr>
      <a:lvl8pPr marL="3326430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8pPr>
      <a:lvl9pPr marL="3801634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74" y="499699"/>
            <a:ext cx="8488579" cy="509050"/>
          </a:xfrm>
        </p:spPr>
        <p:txBody>
          <a:bodyPr/>
          <a:lstStyle/>
          <a:p>
            <a:r>
              <a:rPr lang="en-US" altLang="fr-FR" sz="3308" dirty="0">
                <a:solidFill>
                  <a:srgbClr val="E64B00"/>
                </a:solidFill>
              </a:rPr>
              <a:t>Secure preform and final product hygiene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400107" y="1696644"/>
            <a:ext cx="7833296" cy="412280"/>
          </a:xfrm>
        </p:spPr>
        <p:txBody>
          <a:bodyPr/>
          <a:lstStyle/>
          <a:p>
            <a:r>
              <a:rPr lang="fr-FR" altLang="fr-FR" sz="1985" dirty="0" err="1"/>
              <a:t>Preform</a:t>
            </a:r>
            <a:r>
              <a:rPr lang="fr-FR" altLang="fr-FR" sz="1985" dirty="0"/>
              <a:t> de-</a:t>
            </a:r>
            <a:r>
              <a:rPr lang="fr-FR" altLang="fr-FR" sz="1985" dirty="0" err="1"/>
              <a:t>dusting</a:t>
            </a:r>
            <a:r>
              <a:rPr lang="fr-FR" altLang="fr-FR" sz="1985" dirty="0"/>
              <a:t> module</a:t>
            </a:r>
            <a:endParaRPr lang="fr-FR" altLang="zh-CN" sz="1985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fr-FR" altLang="zh-CN" dirty="0"/>
          </a:p>
          <a:p>
            <a:endParaRPr lang="en-US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83474" y="2541445"/>
            <a:ext cx="3929000" cy="36086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Particles and dust are removed from the preform</a:t>
            </a: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PET dust removed up to 100% (mini 97%)</a:t>
            </a: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en-GB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20946" y="2538333"/>
            <a:ext cx="4021271" cy="3611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The module eliminates by filtered air flow the solid particles which may accumulate inside the preforms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n-U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83474" y="6194609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Value: Product quality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Equipment: </a:t>
            </a:r>
            <a:r>
              <a:rPr lang="en-GB" altLang="fr-FR" sz="882" b="0">
                <a:solidFill>
                  <a:srgbClr val="000000"/>
                </a:solidFill>
              </a:rPr>
              <a:t>blowers Universal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</a:rPr>
              <a:t>Catalogue code: 1050</a:t>
            </a: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1777" y="4606369"/>
            <a:ext cx="1477993" cy="1490275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3962" y="3438858"/>
            <a:ext cx="2113438" cy="1732019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43608C1E-DBC8-4778-935D-E9FE6E00D709}"/>
              </a:ext>
            </a:extLst>
          </p:cNvPr>
          <p:cNvSpPr/>
          <p:nvPr/>
        </p:nvSpPr>
        <p:spPr>
          <a:xfrm>
            <a:off x="1383474" y="2046709"/>
            <a:ext cx="3933281" cy="4916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9330540-3C35-4FAC-B601-169A632046D5}"/>
              </a:ext>
            </a:extLst>
          </p:cNvPr>
          <p:cNvSpPr/>
          <p:nvPr/>
        </p:nvSpPr>
        <p:spPr>
          <a:xfrm>
            <a:off x="5512388" y="2046709"/>
            <a:ext cx="4029829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marL="210026" indent="-21002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6881783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Pages>1</Pages>
  <Words>60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2_NewSidel_Template_4x3_with add layouts</vt:lpstr>
      <vt:lpstr>think-cell Folie</vt:lpstr>
      <vt:lpstr>Secure preform and final product hygiene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3</cp:revision>
  <cp:lastPrinted>2016-08-02T08:13:06Z</cp:lastPrinted>
  <dcterms:created xsi:type="dcterms:W3CDTF">2009-07-10T13:59:45Z</dcterms:created>
  <dcterms:modified xsi:type="dcterms:W3CDTF">2020-07-08T15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7-08T14:52:54.955124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8T16:37:03.1200728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8T16:37:03.1200728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